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erverZoom="100000" strictFirstAndLastChars="0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1576" r:id="rId2"/>
  </p:sldIdLst>
  <p:sldSz cx="17068800" cy="9601200"/>
  <p:notesSz cx="6865938" cy="9998075"/>
  <p:custDataLst>
    <p:tags r:id="rId5"/>
  </p:custDataLst>
  <p:defaultTextStyle>
    <a:defPPr>
      <a:defRPr lang="de-DE"/>
    </a:defPPr>
    <a:lvl1pPr algn="ctr" defTabSz="574482" rtl="0" fontAlgn="base" hangingPunct="0">
      <a:spcBef>
        <a:spcPct val="0"/>
      </a:spcBef>
      <a:spcAft>
        <a:spcPct val="0"/>
      </a:spcAft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1pPr>
    <a:lvl2pPr marL="337197" algn="ctr" defTabSz="574482" rtl="0" fontAlgn="base" hangingPunct="0">
      <a:spcBef>
        <a:spcPct val="0"/>
      </a:spcBef>
      <a:spcAft>
        <a:spcPct val="0"/>
      </a:spcAft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2pPr>
    <a:lvl3pPr marL="674392" algn="ctr" defTabSz="574482" rtl="0" fontAlgn="base" hangingPunct="0">
      <a:spcBef>
        <a:spcPct val="0"/>
      </a:spcBef>
      <a:spcAft>
        <a:spcPct val="0"/>
      </a:spcAft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3pPr>
    <a:lvl4pPr marL="1011590" algn="ctr" defTabSz="574482" rtl="0" fontAlgn="base" hangingPunct="0">
      <a:spcBef>
        <a:spcPct val="0"/>
      </a:spcBef>
      <a:spcAft>
        <a:spcPct val="0"/>
      </a:spcAft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4pPr>
    <a:lvl5pPr marL="1348786" algn="ctr" defTabSz="574482" rtl="0" fontAlgn="base" hangingPunct="0">
      <a:spcBef>
        <a:spcPct val="0"/>
      </a:spcBef>
      <a:spcAft>
        <a:spcPct val="0"/>
      </a:spcAft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5pPr>
    <a:lvl6pPr marL="2247976" algn="l" defTabSz="899192" rtl="0" eaLnBrk="1" latinLnBrk="0" hangingPunct="1"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6pPr>
    <a:lvl7pPr marL="2697571" algn="l" defTabSz="899192" rtl="0" eaLnBrk="1" latinLnBrk="0" hangingPunct="1"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7pPr>
    <a:lvl8pPr marL="3147167" algn="l" defTabSz="899192" rtl="0" eaLnBrk="1" latinLnBrk="0" hangingPunct="1"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8pPr>
    <a:lvl9pPr marL="3596764" algn="l" defTabSz="899192" rtl="0" eaLnBrk="1" latinLnBrk="0" hangingPunct="1"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024" userDrawn="1">
          <p15:clr>
            <a:srgbClr val="A4A3A4"/>
          </p15:clr>
        </p15:guide>
        <p15:guide id="2" pos="537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F81BD"/>
    <a:srgbClr val="F7941E"/>
    <a:srgbClr val="558ED5"/>
    <a:srgbClr val="458CCB"/>
    <a:srgbClr val="F6C834"/>
    <a:srgbClr val="99FF99"/>
    <a:srgbClr val="AFCC45"/>
    <a:srgbClr val="ED8036"/>
    <a:srgbClr val="B9CD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703" autoAdjust="0"/>
    <p:restoredTop sz="93004" autoAdjust="0"/>
  </p:normalViewPr>
  <p:slideViewPr>
    <p:cSldViewPr>
      <p:cViewPr varScale="1">
        <p:scale>
          <a:sx n="74" d="100"/>
          <a:sy n="74" d="100"/>
        </p:scale>
        <p:origin x="354" y="66"/>
      </p:cViewPr>
      <p:guideLst>
        <p:guide orient="horz" pos="3024"/>
        <p:guide pos="537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6/11/relationships/changesInfo" Target="changesInfos/changesInfo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Koytek" userId="1122f4c81c71b2f9" providerId="LiveId" clId="{C38F87DE-7872-40E6-971D-A603C6AAE046}"/>
    <pc:docChg chg="undo custSel modSld">
      <pc:chgData name="Thomas Koytek" userId="1122f4c81c71b2f9" providerId="LiveId" clId="{C38F87DE-7872-40E6-971D-A603C6AAE046}" dt="2021-09-12T06:20:14.010" v="94" actId="3064"/>
      <pc:docMkLst>
        <pc:docMk/>
      </pc:docMkLst>
      <pc:sldChg chg="addSp delSp modSp mod">
        <pc:chgData name="Thomas Koytek" userId="1122f4c81c71b2f9" providerId="LiveId" clId="{C38F87DE-7872-40E6-971D-A603C6AAE046}" dt="2021-09-12T06:20:14.010" v="94" actId="3064"/>
        <pc:sldMkLst>
          <pc:docMk/>
          <pc:sldMk cId="1374429260" sldId="1576"/>
        </pc:sldMkLst>
        <pc:spChg chg="add del mod">
          <ac:chgData name="Thomas Koytek" userId="1122f4c81c71b2f9" providerId="LiveId" clId="{C38F87DE-7872-40E6-971D-A603C6AAE046}" dt="2021-09-12T06:19:17.224" v="85" actId="478"/>
          <ac:spMkLst>
            <pc:docMk/>
            <pc:sldMk cId="1374429260" sldId="1576"/>
            <ac:spMk id="19" creationId="{EC05B2BE-88E2-4159-AFFD-93494826D75E}"/>
          </ac:spMkLst>
        </pc:spChg>
        <pc:spChg chg="add del mod">
          <ac:chgData name="Thomas Koytek" userId="1122f4c81c71b2f9" providerId="LiveId" clId="{C38F87DE-7872-40E6-971D-A603C6AAE046}" dt="2021-09-12T06:19:18.535" v="86" actId="478"/>
          <ac:spMkLst>
            <pc:docMk/>
            <pc:sldMk cId="1374429260" sldId="1576"/>
            <ac:spMk id="20" creationId="{062E38FC-CAFA-4EA2-9D99-C086D49A77C8}"/>
          </ac:spMkLst>
        </pc:spChg>
        <pc:graphicFrameChg chg="modGraphic">
          <ac:chgData name="Thomas Koytek" userId="1122f4c81c71b2f9" providerId="LiveId" clId="{C38F87DE-7872-40E6-971D-A603C6AAE046}" dt="2021-09-12T06:20:14.010" v="94" actId="3064"/>
          <ac:graphicFrameMkLst>
            <pc:docMk/>
            <pc:sldMk cId="1374429260" sldId="1576"/>
            <ac:graphicFrameMk id="22" creationId="{EE7D2DC1-B4D5-422C-B1EA-CF4FC9E3A83B}"/>
          </ac:graphicFrameMkLst>
        </pc:graphicFrameChg>
        <pc:cxnChg chg="add del mod">
          <ac:chgData name="Thomas Koytek" userId="1122f4c81c71b2f9" providerId="LiveId" clId="{C38F87DE-7872-40E6-971D-A603C6AAE046}" dt="2021-09-12T06:19:15.735" v="84" actId="478"/>
          <ac:cxnSpMkLst>
            <pc:docMk/>
            <pc:sldMk cId="1374429260" sldId="1576"/>
            <ac:cxnSpMk id="21" creationId="{B02E542E-D7A0-4239-9121-CF681EEF934C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240" cy="499903"/>
          </a:xfrm>
          <a:prstGeom prst="rect">
            <a:avLst/>
          </a:prstGeom>
        </p:spPr>
        <p:txBody>
          <a:bodyPr vert="horz" lIns="96332" tIns="48167" rIns="96332" bIns="48167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9110" y="0"/>
            <a:ext cx="2975240" cy="499903"/>
          </a:xfrm>
          <a:prstGeom prst="rect">
            <a:avLst/>
          </a:prstGeom>
        </p:spPr>
        <p:txBody>
          <a:bodyPr vert="horz" lIns="96332" tIns="48167" rIns="96332" bIns="48167" rtlCol="0"/>
          <a:lstStyle>
            <a:lvl1pPr algn="r">
              <a:defRPr sz="1300"/>
            </a:lvl1pPr>
          </a:lstStyle>
          <a:p>
            <a:fld id="{19374F5E-DF45-4BEC-9D66-DFC57119FD26}" type="datetimeFigureOut">
              <a:rPr lang="de-DE" smtClean="0"/>
              <a:t>12.09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96437"/>
            <a:ext cx="2975240" cy="499903"/>
          </a:xfrm>
          <a:prstGeom prst="rect">
            <a:avLst/>
          </a:prstGeom>
        </p:spPr>
        <p:txBody>
          <a:bodyPr vert="horz" lIns="96332" tIns="48167" rIns="96332" bIns="48167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9110" y="9496437"/>
            <a:ext cx="2975240" cy="499903"/>
          </a:xfrm>
          <a:prstGeom prst="rect">
            <a:avLst/>
          </a:prstGeom>
        </p:spPr>
        <p:txBody>
          <a:bodyPr vert="horz" lIns="96332" tIns="48167" rIns="96332" bIns="48167" rtlCol="0" anchor="b"/>
          <a:lstStyle>
            <a:lvl1pPr algn="r">
              <a:defRPr sz="1300"/>
            </a:lvl1pPr>
          </a:lstStyle>
          <a:p>
            <a:fld id="{CC694DF6-5A87-403A-9349-A7F70450549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46960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Rectangle 1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100013" y="749300"/>
            <a:ext cx="6665912" cy="3751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4" name="Rectangle 2"/>
          <p:cNvSpPr>
            <a:spLocks noGrp="1"/>
          </p:cNvSpPr>
          <p:nvPr>
            <p:ph type="body" sz="quarter" idx="3"/>
          </p:nvPr>
        </p:nvSpPr>
        <p:spPr bwMode="auto">
          <a:xfrm>
            <a:off x="915459" y="4749086"/>
            <a:ext cx="5035022" cy="4499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6332" tIns="48167" rIns="96332" bIns="481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>
                <a:sym typeface="Noteworthy Bold" charset="0"/>
              </a:rPr>
              <a:t>Click to edit Master text styles</a:t>
            </a:r>
          </a:p>
          <a:p>
            <a:pPr lvl="1"/>
            <a:r>
              <a:rPr lang="de-DE">
                <a:sym typeface="Noteworthy Bold" charset="0"/>
              </a:rPr>
              <a:t>Second level</a:t>
            </a:r>
          </a:p>
          <a:p>
            <a:pPr lvl="2"/>
            <a:r>
              <a:rPr lang="de-DE">
                <a:sym typeface="Noteworthy Bold" charset="0"/>
              </a:rPr>
              <a:t>Third level</a:t>
            </a:r>
          </a:p>
          <a:p>
            <a:pPr lvl="3"/>
            <a:r>
              <a:rPr lang="de-DE">
                <a:sym typeface="Noteworthy Bold" charset="0"/>
              </a:rPr>
              <a:t>Fourth level</a:t>
            </a:r>
          </a:p>
          <a:p>
            <a:pPr lvl="4"/>
            <a:r>
              <a:rPr lang="de-DE">
                <a:sym typeface="Noteworthy Bold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416733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49593" rtl="0" fontAlgn="base" hangingPunct="0">
      <a:lnSpc>
        <a:spcPts val="3444"/>
      </a:lnSpc>
      <a:spcBef>
        <a:spcPct val="0"/>
      </a:spcBef>
      <a:spcAft>
        <a:spcPct val="0"/>
      </a:spcAft>
      <a:defRPr sz="2400" kern="1200">
        <a:solidFill>
          <a:srgbClr val="572E2D"/>
        </a:solidFill>
        <a:latin typeface="Noteworthy Bold" charset="0"/>
        <a:ea typeface="Noteworthy Bold" charset="0"/>
        <a:cs typeface="Noteworthy Bold" charset="0"/>
        <a:sym typeface="Noteworthy Bold" charset="0"/>
      </a:defRPr>
    </a:lvl1pPr>
    <a:lvl2pPr marL="337197" algn="l" defTabSz="449593" rtl="0" fontAlgn="base" hangingPunct="0">
      <a:lnSpc>
        <a:spcPts val="3444"/>
      </a:lnSpc>
      <a:spcBef>
        <a:spcPct val="0"/>
      </a:spcBef>
      <a:spcAft>
        <a:spcPct val="0"/>
      </a:spcAft>
      <a:defRPr sz="2400" kern="1200">
        <a:solidFill>
          <a:srgbClr val="572E2D"/>
        </a:solidFill>
        <a:latin typeface="Noteworthy Bold" charset="0"/>
        <a:ea typeface="Noteworthy Bold" charset="0"/>
        <a:cs typeface="Noteworthy Bold" charset="0"/>
        <a:sym typeface="Noteworthy Bold" charset="0"/>
      </a:defRPr>
    </a:lvl2pPr>
    <a:lvl3pPr marL="674392" algn="l" defTabSz="449593" rtl="0" fontAlgn="base" hangingPunct="0">
      <a:lnSpc>
        <a:spcPts val="3444"/>
      </a:lnSpc>
      <a:spcBef>
        <a:spcPct val="0"/>
      </a:spcBef>
      <a:spcAft>
        <a:spcPct val="0"/>
      </a:spcAft>
      <a:defRPr sz="2400" kern="1200">
        <a:solidFill>
          <a:srgbClr val="572E2D"/>
        </a:solidFill>
        <a:latin typeface="Noteworthy Bold" charset="0"/>
        <a:ea typeface="Noteworthy Bold" charset="0"/>
        <a:cs typeface="Noteworthy Bold" charset="0"/>
        <a:sym typeface="Noteworthy Bold" charset="0"/>
      </a:defRPr>
    </a:lvl3pPr>
    <a:lvl4pPr marL="1011590" algn="l" defTabSz="449593" rtl="0" fontAlgn="base" hangingPunct="0">
      <a:lnSpc>
        <a:spcPts val="3444"/>
      </a:lnSpc>
      <a:spcBef>
        <a:spcPct val="0"/>
      </a:spcBef>
      <a:spcAft>
        <a:spcPct val="0"/>
      </a:spcAft>
      <a:defRPr sz="2400" kern="1200">
        <a:solidFill>
          <a:srgbClr val="572E2D"/>
        </a:solidFill>
        <a:latin typeface="Noteworthy Bold" charset="0"/>
        <a:ea typeface="Noteworthy Bold" charset="0"/>
        <a:cs typeface="Noteworthy Bold" charset="0"/>
        <a:sym typeface="Noteworthy Bold" charset="0"/>
      </a:defRPr>
    </a:lvl4pPr>
    <a:lvl5pPr marL="1348786" algn="l" defTabSz="449593" rtl="0" fontAlgn="base" hangingPunct="0">
      <a:lnSpc>
        <a:spcPts val="3444"/>
      </a:lnSpc>
      <a:spcBef>
        <a:spcPct val="0"/>
      </a:spcBef>
      <a:spcAft>
        <a:spcPct val="0"/>
      </a:spcAft>
      <a:defRPr sz="2400" kern="1200">
        <a:solidFill>
          <a:srgbClr val="572E2D"/>
        </a:solidFill>
        <a:latin typeface="Noteworthy Bold" charset="0"/>
        <a:ea typeface="Noteworthy Bold" charset="0"/>
        <a:cs typeface="Noteworthy Bold" charset="0"/>
        <a:sym typeface="Noteworthy Bold" charset="0"/>
      </a:defRPr>
    </a:lvl5pPr>
    <a:lvl6pPr marL="2247976" algn="l" defTabSz="8991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697571" algn="l" defTabSz="8991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147167" algn="l" defTabSz="8991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596764" algn="l" defTabSz="8991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80160" y="2982605"/>
            <a:ext cx="14508480" cy="2058035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560320" y="5440681"/>
            <a:ext cx="11948160" cy="24536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104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20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31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41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522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62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73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83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12.09.2021</a:t>
            </a:fld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965806" y="1877075"/>
            <a:ext cx="151371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>
          <a:xfrm>
            <a:off x="1586182" y="1965810"/>
            <a:ext cx="145168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5283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532541"/>
              </p:ext>
            </p:extLst>
          </p:nvPr>
        </p:nvGraphicFramePr>
        <p:xfrm>
          <a:off x="2739" y="2225"/>
          <a:ext cx="2735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739" y="2225"/>
                        <a:ext cx="2735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7843" indent="-457843">
              <a:buClr>
                <a:srgbClr val="0070C0"/>
              </a:buClr>
              <a:buSzPct val="66000"/>
              <a:buFont typeface="Wingdings" panose="05000000000000000000" pitchFamily="2" charset="2"/>
              <a:buChar char=""/>
              <a:defRPr lang="de-DE" sz="2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buClr>
                <a:schemeClr val="accent6"/>
              </a:buClr>
              <a:defRPr sz="2000"/>
            </a:lvl2pPr>
            <a:lvl3pPr marL="1556810" indent="-358448">
              <a:defRPr sz="1600"/>
            </a:lvl3pPr>
            <a:lvl4pPr marL="1913135" indent="-231189">
              <a:defRPr sz="1600"/>
            </a:lvl4pPr>
            <a:lvl5pPr marL="2441837" indent="0">
              <a:buNone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12.09.2021</a:t>
            </a:fld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965806" y="1877075"/>
            <a:ext cx="151371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1586182" y="1965810"/>
            <a:ext cx="145168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623987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48320" y="6169670"/>
            <a:ext cx="14508480" cy="190690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348320" y="4069400"/>
            <a:ext cx="14508480" cy="2100262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10459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20919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3137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4183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5229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6275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7321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8367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12.09.2021</a:t>
            </a:fld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965806" y="1877075"/>
            <a:ext cx="151371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>
          <a:xfrm>
            <a:off x="1586182" y="1965810"/>
            <a:ext cx="145168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7337829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53440" y="384493"/>
            <a:ext cx="1536192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53443" y="2149162"/>
            <a:ext cx="7541684" cy="895667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610459" indent="0">
              <a:buNone/>
              <a:defRPr sz="2700" b="1"/>
            </a:lvl2pPr>
            <a:lvl3pPr marL="1220919" indent="0">
              <a:buNone/>
              <a:defRPr sz="2400" b="1"/>
            </a:lvl3pPr>
            <a:lvl4pPr marL="1831378" indent="0">
              <a:buNone/>
              <a:defRPr sz="2100" b="1"/>
            </a:lvl4pPr>
            <a:lvl5pPr marL="2441837" indent="0">
              <a:buNone/>
              <a:defRPr sz="2100" b="1"/>
            </a:lvl5pPr>
            <a:lvl6pPr marL="3052295" indent="0">
              <a:buNone/>
              <a:defRPr sz="2100" b="1"/>
            </a:lvl6pPr>
            <a:lvl7pPr marL="3662756" indent="0">
              <a:buNone/>
              <a:defRPr sz="2100" b="1"/>
            </a:lvl7pPr>
            <a:lvl8pPr marL="4273215" indent="0">
              <a:buNone/>
              <a:defRPr sz="2100" b="1"/>
            </a:lvl8pPr>
            <a:lvl9pPr marL="4883674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53443" y="3044826"/>
            <a:ext cx="7541684" cy="553180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2100"/>
            </a:lvl3pPr>
            <a:lvl4pPr>
              <a:defRPr sz="16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8670716" y="2149162"/>
            <a:ext cx="7544648" cy="895667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610459" indent="0">
              <a:buNone/>
              <a:defRPr sz="2700" b="1"/>
            </a:lvl2pPr>
            <a:lvl3pPr marL="1220919" indent="0">
              <a:buNone/>
              <a:defRPr sz="2400" b="1"/>
            </a:lvl3pPr>
            <a:lvl4pPr marL="1831378" indent="0">
              <a:buNone/>
              <a:defRPr sz="2100" b="1"/>
            </a:lvl4pPr>
            <a:lvl5pPr marL="2441837" indent="0">
              <a:buNone/>
              <a:defRPr sz="2100" b="1"/>
            </a:lvl5pPr>
            <a:lvl6pPr marL="3052295" indent="0">
              <a:buNone/>
              <a:defRPr sz="2100" b="1"/>
            </a:lvl6pPr>
            <a:lvl7pPr marL="3662756" indent="0">
              <a:buNone/>
              <a:defRPr sz="2100" b="1"/>
            </a:lvl7pPr>
            <a:lvl8pPr marL="4273215" indent="0">
              <a:buNone/>
              <a:defRPr sz="2100" b="1"/>
            </a:lvl8pPr>
            <a:lvl9pPr marL="4883674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8670716" y="3044826"/>
            <a:ext cx="7544648" cy="553180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2100"/>
            </a:lvl3pPr>
            <a:lvl4pPr>
              <a:defRPr sz="16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12.09.2021</a:t>
            </a:fld>
            <a:endParaRPr lang="de-DE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965806" y="1877075"/>
            <a:ext cx="151371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>
          <a:xfrm>
            <a:off x="1586182" y="1965810"/>
            <a:ext cx="145168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1006090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12.09.2021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965806" y="1877075"/>
            <a:ext cx="151371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 userDrawn="1"/>
        </p:nvCxnSpPr>
        <p:spPr>
          <a:xfrm>
            <a:off x="1586182" y="1965810"/>
            <a:ext cx="145168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7968741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12.09.2021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76C5D-FED1-41A1-8E06-910D3F4D4E5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2270724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53443" y="382270"/>
            <a:ext cx="5615519" cy="1626870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673431" y="382279"/>
            <a:ext cx="9541933" cy="819435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 marL="1556810" indent="-358448">
              <a:defRPr sz="2100"/>
            </a:lvl3pPr>
            <a:lvl4pPr>
              <a:defRPr sz="16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53443" y="2009146"/>
            <a:ext cx="5615519" cy="6567488"/>
          </a:xfrm>
        </p:spPr>
        <p:txBody>
          <a:bodyPr/>
          <a:lstStyle>
            <a:lvl1pPr marL="0" indent="0">
              <a:buNone/>
              <a:defRPr sz="1900"/>
            </a:lvl1pPr>
            <a:lvl2pPr marL="610459" indent="0">
              <a:buNone/>
              <a:defRPr sz="1600"/>
            </a:lvl2pPr>
            <a:lvl3pPr marL="1220919" indent="0">
              <a:buNone/>
              <a:defRPr sz="1300"/>
            </a:lvl3pPr>
            <a:lvl4pPr marL="1831378" indent="0">
              <a:buNone/>
              <a:defRPr sz="1200"/>
            </a:lvl4pPr>
            <a:lvl5pPr marL="2441837" indent="0">
              <a:buNone/>
              <a:defRPr sz="1200"/>
            </a:lvl5pPr>
            <a:lvl6pPr marL="3052295" indent="0">
              <a:buNone/>
              <a:defRPr sz="1200"/>
            </a:lvl6pPr>
            <a:lvl7pPr marL="3662756" indent="0">
              <a:buNone/>
              <a:defRPr sz="1200"/>
            </a:lvl7pPr>
            <a:lvl8pPr marL="4273215" indent="0">
              <a:buNone/>
              <a:defRPr sz="1200"/>
            </a:lvl8pPr>
            <a:lvl9pPr marL="4883674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12.09.2021</a:t>
            </a:fld>
            <a:endParaRPr lang="de-DE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965806" y="1877075"/>
            <a:ext cx="55833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1586182" y="1965810"/>
            <a:ext cx="49630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2838149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5605" y="6720844"/>
            <a:ext cx="10241280" cy="793433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345605" y="857885"/>
            <a:ext cx="10241280" cy="5760720"/>
          </a:xfrm>
        </p:spPr>
        <p:txBody>
          <a:bodyPr/>
          <a:lstStyle>
            <a:lvl1pPr marL="0" indent="0">
              <a:buNone/>
              <a:defRPr sz="4300"/>
            </a:lvl1pPr>
            <a:lvl2pPr marL="610459" indent="0">
              <a:buNone/>
              <a:defRPr sz="3700"/>
            </a:lvl2pPr>
            <a:lvl3pPr marL="1220919" indent="0">
              <a:buNone/>
              <a:defRPr sz="3200"/>
            </a:lvl3pPr>
            <a:lvl4pPr marL="1831378" indent="0">
              <a:buNone/>
              <a:defRPr sz="2700"/>
            </a:lvl4pPr>
            <a:lvl5pPr marL="2441837" indent="0">
              <a:buNone/>
              <a:defRPr sz="2700"/>
            </a:lvl5pPr>
            <a:lvl6pPr marL="3052295" indent="0">
              <a:buNone/>
              <a:defRPr sz="2700"/>
            </a:lvl6pPr>
            <a:lvl7pPr marL="3662756" indent="0">
              <a:buNone/>
              <a:defRPr sz="2700"/>
            </a:lvl7pPr>
            <a:lvl8pPr marL="4273215" indent="0">
              <a:buNone/>
              <a:defRPr sz="2700"/>
            </a:lvl8pPr>
            <a:lvl9pPr marL="4883674" indent="0">
              <a:buNone/>
              <a:defRPr sz="27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345605" y="7514277"/>
            <a:ext cx="10241280" cy="1126807"/>
          </a:xfrm>
        </p:spPr>
        <p:txBody>
          <a:bodyPr/>
          <a:lstStyle>
            <a:lvl1pPr marL="0" indent="0">
              <a:buNone/>
              <a:defRPr sz="1900"/>
            </a:lvl1pPr>
            <a:lvl2pPr marL="610459" indent="0">
              <a:buNone/>
              <a:defRPr sz="1600"/>
            </a:lvl2pPr>
            <a:lvl3pPr marL="1220919" indent="0">
              <a:buNone/>
              <a:defRPr sz="1300"/>
            </a:lvl3pPr>
            <a:lvl4pPr marL="1831378" indent="0">
              <a:buNone/>
              <a:defRPr sz="1200"/>
            </a:lvl4pPr>
            <a:lvl5pPr marL="2441837" indent="0">
              <a:buNone/>
              <a:defRPr sz="1200"/>
            </a:lvl5pPr>
            <a:lvl6pPr marL="3052295" indent="0">
              <a:buNone/>
              <a:defRPr sz="1200"/>
            </a:lvl6pPr>
            <a:lvl7pPr marL="3662756" indent="0">
              <a:buNone/>
              <a:defRPr sz="1200"/>
            </a:lvl7pPr>
            <a:lvl8pPr marL="4273215" indent="0">
              <a:buNone/>
              <a:defRPr sz="1200"/>
            </a:lvl8pPr>
            <a:lvl9pPr marL="4883674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12.09.2021</a:t>
            </a:fld>
            <a:endParaRPr lang="de-DE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5493500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4135495"/>
              </p:ext>
            </p:extLst>
          </p:nvPr>
        </p:nvGraphicFramePr>
        <p:xfrm>
          <a:off x="2739" y="2225"/>
          <a:ext cx="2735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739" y="2225"/>
                        <a:ext cx="2735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66730" y="476747"/>
            <a:ext cx="16135351" cy="1262657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67727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652886326"/>
              </p:ext>
            </p:extLst>
          </p:nvPr>
        </p:nvGraphicFramePr>
        <p:xfrm>
          <a:off x="2739" y="2225"/>
          <a:ext cx="2735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739" y="2225"/>
                        <a:ext cx="2735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53440" y="384493"/>
            <a:ext cx="15361920" cy="1600200"/>
          </a:xfrm>
          <a:prstGeom prst="rect">
            <a:avLst/>
          </a:prstGeom>
        </p:spPr>
        <p:txBody>
          <a:bodyPr vert="horz" lIns="122092" tIns="61046" rIns="122092" bIns="61046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53440" y="8898900"/>
            <a:ext cx="3982720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30D665-4F68-4AA6-B008-E9950B6EADA3}" type="datetimeFigureOut">
              <a:rPr lang="de-DE" smtClean="0"/>
              <a:t>12.09.2021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1" y="2568352"/>
            <a:ext cx="17068801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60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53440" y="2240289"/>
            <a:ext cx="15361920" cy="6336348"/>
          </a:xfrm>
          <a:prstGeom prst="rect">
            <a:avLst/>
          </a:prstGeom>
        </p:spPr>
        <p:txBody>
          <a:bodyPr vert="horz" lIns="122092" tIns="61046" rIns="122092" bIns="61046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99A951C-1845-4918-81AE-B3AF6CA4B939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59136" y="8817922"/>
            <a:ext cx="1621632" cy="673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193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654" r:id="rId9"/>
  </p:sldLayoutIdLst>
  <p:hf hdr="0" dt="0"/>
  <p:txStyles>
    <p:titleStyle>
      <a:lvl1pPr algn="ctr" defTabSz="1220919" rtl="0" eaLnBrk="1" latinLnBrk="0" hangingPunct="1"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843" indent="-457843" algn="l" defTabSz="1220919" rtl="0" eaLnBrk="1" latinLnBrk="0" hangingPunct="1">
        <a:spcBef>
          <a:spcPct val="20000"/>
        </a:spcBef>
        <a:buClr>
          <a:srgbClr val="0070C0"/>
        </a:buClr>
        <a:buSzPct val="66000"/>
        <a:buFont typeface="Wingdings" panose="05000000000000000000" pitchFamily="2" charset="2"/>
        <a:buChar char="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1071103" indent="-460256" algn="l" defTabSz="1220919" rtl="0" eaLnBrk="1" latinLnBrk="0" hangingPunct="1">
        <a:spcBef>
          <a:spcPct val="20000"/>
        </a:spcBef>
        <a:buClr>
          <a:schemeClr val="accent6"/>
        </a:buClr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556810" indent="-358448" algn="l" defTabSz="1220919" rtl="0" eaLnBrk="1" latinLnBrk="0" hangingPunct="1">
        <a:spcBef>
          <a:spcPct val="20000"/>
        </a:spcBef>
        <a:buClr>
          <a:srgbClr val="0070C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913135" indent="-231189" algn="l" defTabSz="1220919" rtl="0" eaLnBrk="1" latinLnBrk="0" hangingPunct="1">
        <a:spcBef>
          <a:spcPct val="20000"/>
        </a:spcBef>
        <a:buClr>
          <a:schemeClr val="accent6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441837" indent="0" algn="l" defTabSz="1220919" rtl="0" eaLnBrk="1" latinLnBrk="0" hangingPunct="1">
        <a:spcBef>
          <a:spcPct val="20000"/>
        </a:spcBef>
        <a:buFont typeface="Arial" panose="020B0604020202020204" pitchFamily="34" charset="0"/>
        <a:buNone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7527" indent="-305228" algn="l" defTabSz="1220919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7984" indent="-305228" algn="l" defTabSz="1220919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8444" indent="-305228" algn="l" defTabSz="1220919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8904" indent="-305228" algn="l" defTabSz="1220919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10459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20919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31378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1837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52295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62756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73215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83674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2A289A84-5E97-4709-9E5D-7BE993491675}"/>
              </a:ext>
            </a:extLst>
          </p:cNvPr>
          <p:cNvSpPr txBox="1"/>
          <p:nvPr/>
        </p:nvSpPr>
        <p:spPr>
          <a:xfrm>
            <a:off x="1633027" y="436260"/>
            <a:ext cx="2022447" cy="492717"/>
          </a:xfrm>
          <a:prstGeom prst="rect">
            <a:avLst/>
          </a:prstGeom>
          <a:noFill/>
        </p:spPr>
        <p:txBody>
          <a:bodyPr wrap="none" lIns="122191" tIns="61096" rIns="122191" bIns="61096" rtlCol="0">
            <a:spAutoFit/>
          </a:bodyPr>
          <a:lstStyle/>
          <a:p>
            <a:pPr algn="l"/>
            <a:r>
              <a:rPr lang="de-DE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rPr>
              <a:t>Projekt-Name</a:t>
            </a:r>
          </a:p>
        </p:txBody>
      </p:sp>
      <p:sp>
        <p:nvSpPr>
          <p:cNvPr id="14" name="Textfeld 13" title="Stand:">
            <a:extLst>
              <a:ext uri="{FF2B5EF4-FFF2-40B4-BE49-F238E27FC236}">
                <a16:creationId xmlns:a16="http://schemas.microsoft.com/office/drawing/2014/main" id="{17E6A582-B5E4-401D-BAF8-355E782E6C79}"/>
              </a:ext>
            </a:extLst>
          </p:cNvPr>
          <p:cNvSpPr txBox="1"/>
          <p:nvPr/>
        </p:nvSpPr>
        <p:spPr>
          <a:xfrm>
            <a:off x="1093156" y="8977064"/>
            <a:ext cx="432362" cy="323440"/>
          </a:xfrm>
          <a:prstGeom prst="rect">
            <a:avLst/>
          </a:prstGeom>
          <a:noFill/>
        </p:spPr>
        <p:txBody>
          <a:bodyPr wrap="none" lIns="0" tIns="61096" rIns="0" bIns="61096" rtlCol="0">
            <a:spAutoFit/>
          </a:bodyPr>
          <a:lstStyle/>
          <a:p>
            <a:pPr algn="l"/>
            <a:r>
              <a:rPr lang="de-DE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rPr>
              <a:t>Stand: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4A79403-A556-46CD-8980-4DCFF6AFD01F}"/>
              </a:ext>
            </a:extLst>
          </p:cNvPr>
          <p:cNvSpPr txBox="1"/>
          <p:nvPr/>
        </p:nvSpPr>
        <p:spPr>
          <a:xfrm>
            <a:off x="7166248" y="8977064"/>
            <a:ext cx="1046440" cy="323440"/>
          </a:xfrm>
          <a:prstGeom prst="rect">
            <a:avLst/>
          </a:prstGeom>
          <a:noFill/>
        </p:spPr>
        <p:txBody>
          <a:bodyPr wrap="none" lIns="0" tIns="61096" rIns="0" bIns="61096" rtlCol="0">
            <a:spAutoFit/>
          </a:bodyPr>
          <a:lstStyle/>
          <a:p>
            <a:pPr algn="l"/>
            <a:r>
              <a:rPr lang="de-DE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rPr>
              <a:t>Verantwortlich:</a:t>
            </a:r>
          </a:p>
        </p:txBody>
      </p:sp>
      <p:grpSp>
        <p:nvGrpSpPr>
          <p:cNvPr id="29" name="Gruppieren 28" title="SymTrafficLight">
            <a:extLst>
              <a:ext uri="{FF2B5EF4-FFF2-40B4-BE49-F238E27FC236}">
                <a16:creationId xmlns:a16="http://schemas.microsoft.com/office/drawing/2014/main" id="{0A0E4AC2-2E4C-46E0-B0DF-E7853626BB1A}"/>
              </a:ext>
            </a:extLst>
          </p:cNvPr>
          <p:cNvGrpSpPr/>
          <p:nvPr/>
        </p:nvGrpSpPr>
        <p:grpSpPr>
          <a:xfrm>
            <a:off x="829544" y="264096"/>
            <a:ext cx="768795" cy="743212"/>
            <a:chOff x="719575" y="2209569"/>
            <a:chExt cx="1085406" cy="1085406"/>
          </a:xfrm>
        </p:grpSpPr>
        <p:sp>
          <p:nvSpPr>
            <p:cNvPr id="30" name="Ellipse 29" title="VisboAmpelRed">
              <a:extLst>
                <a:ext uri="{FF2B5EF4-FFF2-40B4-BE49-F238E27FC236}">
                  <a16:creationId xmlns:a16="http://schemas.microsoft.com/office/drawing/2014/main" id="{19CDB52D-AEBC-4FE4-83A8-2C386D1228CB}"/>
                </a:ext>
              </a:extLst>
            </p:cNvPr>
            <p:cNvSpPr/>
            <p:nvPr/>
          </p:nvSpPr>
          <p:spPr>
            <a:xfrm>
              <a:off x="1156092" y="2412460"/>
              <a:ext cx="200258" cy="200258"/>
            </a:xfrm>
            <a:prstGeom prst="ellipse">
              <a:avLst/>
            </a:prstGeom>
            <a:solidFill>
              <a:srgbClr val="FF0000">
                <a:alpha val="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Ellipse 30" title="VisboAmpelYellow">
              <a:extLst>
                <a:ext uri="{FF2B5EF4-FFF2-40B4-BE49-F238E27FC236}">
                  <a16:creationId xmlns:a16="http://schemas.microsoft.com/office/drawing/2014/main" id="{05E7D982-4739-4E67-BF9D-D20E9A11665C}"/>
                </a:ext>
              </a:extLst>
            </p:cNvPr>
            <p:cNvSpPr/>
            <p:nvPr/>
          </p:nvSpPr>
          <p:spPr>
            <a:xfrm>
              <a:off x="1156092" y="2659051"/>
              <a:ext cx="200258" cy="200258"/>
            </a:xfrm>
            <a:prstGeom prst="ellipse">
              <a:avLst/>
            </a:prstGeom>
            <a:solidFill>
              <a:srgbClr val="FFFF00">
                <a:alpha val="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Ellipse 31" title="VisboAmpelGreen">
              <a:extLst>
                <a:ext uri="{FF2B5EF4-FFF2-40B4-BE49-F238E27FC236}">
                  <a16:creationId xmlns:a16="http://schemas.microsoft.com/office/drawing/2014/main" id="{18D055CF-2A25-40B7-8EB5-FBAA5BB01AE8}"/>
                </a:ext>
              </a:extLst>
            </p:cNvPr>
            <p:cNvSpPr/>
            <p:nvPr/>
          </p:nvSpPr>
          <p:spPr>
            <a:xfrm>
              <a:off x="1156092" y="2920406"/>
              <a:ext cx="200258" cy="200258"/>
            </a:xfrm>
            <a:prstGeom prst="ellipse">
              <a:avLst/>
            </a:prstGeom>
            <a:solidFill>
              <a:srgbClr val="00B050">
                <a:alpha val="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3" name="Picture 7" descr="Stop light image traffic light clipart black and white 2">
              <a:extLst>
                <a:ext uri="{FF2B5EF4-FFF2-40B4-BE49-F238E27FC236}">
                  <a16:creationId xmlns:a16="http://schemas.microsoft.com/office/drawing/2014/main" id="{6CF76E65-0C0F-4993-AE2C-CB0119762E7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9575" y="2209569"/>
              <a:ext cx="1085406" cy="10854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17" name="Tabelle 16" title="TableBudgetCostAPVCV">
            <a:extLst>
              <a:ext uri="{FF2B5EF4-FFF2-40B4-BE49-F238E27FC236}">
                <a16:creationId xmlns:a16="http://schemas.microsoft.com/office/drawing/2014/main" id="{FC4F3511-D240-4D58-A95E-3ECA59F19F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2153138"/>
              </p:ext>
            </p:extLst>
          </p:nvPr>
        </p:nvGraphicFramePr>
        <p:xfrm>
          <a:off x="1076328" y="6544964"/>
          <a:ext cx="15120001" cy="9919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3248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187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18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1940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5187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1940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02926">
                <a:tc>
                  <a:txBody>
                    <a:bodyPr/>
                    <a:lstStyle/>
                    <a:p>
                      <a:pPr algn="ctr"/>
                      <a:r>
                        <a:rPr lang="de-DE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Überblick und Details zu Koste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1279698" rtl="0" eaLnBrk="1" latinLnBrk="0" hangingPunct="1"/>
                      <a:r>
                        <a:rPr lang="de-DE" sz="1400" kern="1200" dirty="0"/>
                        <a:t>Aktueller</a:t>
                      </a:r>
                      <a:br>
                        <a:rPr lang="de-DE" sz="1400" kern="1200" baseline="0" dirty="0"/>
                      </a:br>
                      <a:r>
                        <a:rPr lang="de-DE" sz="1400" kern="1200" baseline="0" dirty="0"/>
                        <a:t>Stand</a:t>
                      </a:r>
                      <a:r>
                        <a:rPr lang="de-DE" sz="1400" kern="1200" dirty="0"/>
                        <a:t> [T€]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2796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kern="1200" dirty="0"/>
                        <a:t>Letzte</a:t>
                      </a:r>
                      <a:br>
                        <a:rPr lang="de-DE" sz="1400" kern="1200" dirty="0"/>
                      </a:br>
                      <a:r>
                        <a:rPr lang="de-DE" sz="1400" kern="1200" dirty="0"/>
                        <a:t>Baseline [T€]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79698" rtl="0" eaLnBrk="1" latinLnBrk="0" hangingPunct="1"/>
                      <a:r>
                        <a:rPr lang="de-DE" sz="1400" kern="1200" dirty="0"/>
                        <a:t>Diff. zu </a:t>
                      </a:r>
                      <a:br>
                        <a:rPr lang="de-DE" sz="1400" kern="1200" dirty="0"/>
                      </a:br>
                      <a:r>
                        <a:rPr lang="de-DE" sz="1400" kern="1200" dirty="0"/>
                        <a:t>Aktuell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79698" rtl="0" eaLnBrk="1" latinLnBrk="0" hangingPunct="1"/>
                      <a:r>
                        <a:rPr lang="de-DE" sz="1400" kern="1200" dirty="0"/>
                        <a:t>Erste </a:t>
                      </a:r>
                      <a:br>
                        <a:rPr lang="de-DE" sz="1400" kern="1200" dirty="0"/>
                      </a:br>
                      <a:r>
                        <a:rPr lang="de-DE" sz="1400" kern="1200" dirty="0"/>
                        <a:t>Baseline [T€]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79698" rtl="0" eaLnBrk="1" latinLnBrk="0" hangingPunct="1"/>
                      <a:r>
                        <a:rPr lang="de-DE" sz="1400" kern="1200" dirty="0"/>
                        <a:t>Diff. zu</a:t>
                      </a:r>
                      <a:br>
                        <a:rPr lang="de-DE" sz="1400" kern="1200" dirty="0"/>
                      </a:br>
                      <a:r>
                        <a:rPr lang="de-DE" sz="1400" kern="1200" dirty="0"/>
                        <a:t>Aktuell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014">
                <a:tc>
                  <a:txBody>
                    <a:bodyPr/>
                    <a:lstStyle/>
                    <a:p>
                      <a:r>
                        <a:rPr lang="de-DE" sz="1200" dirty="0"/>
                        <a:t>Budget</a:t>
                      </a:r>
                      <a:endParaRPr lang="de-DE" sz="1200" dirty="0">
                        <a:latin typeface="+mn-lt"/>
                      </a:endParaRPr>
                    </a:p>
                  </a:txBody>
                  <a:tcPr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dirty="0">
                        <a:latin typeface="+mn-lt"/>
                      </a:endParaRPr>
                    </a:p>
                  </a:txBody>
                  <a:tcPr marL="36000" marR="288000" marT="36000" marB="36000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dirty="0">
                        <a:latin typeface="+mn-lt"/>
                      </a:endParaRPr>
                    </a:p>
                  </a:txBody>
                  <a:tcPr marL="36000" marR="288000" marT="36000" marB="36000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dirty="0">
                        <a:latin typeface="+mn-lt"/>
                      </a:endParaRPr>
                    </a:p>
                  </a:txBody>
                  <a:tcPr marL="36000" marR="288000" marT="36000" marB="36000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dirty="0">
                        <a:latin typeface="+mn-lt"/>
                      </a:endParaRPr>
                    </a:p>
                  </a:txBody>
                  <a:tcPr marL="36000" marR="288000" marT="36000" marB="36000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dirty="0">
                        <a:latin typeface="+mn-lt"/>
                      </a:endParaRPr>
                    </a:p>
                  </a:txBody>
                  <a:tcPr marL="36000" marR="288000" marT="36000" marB="36000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2" name="Tabelle 21" title="Tabelle Projektziele">
            <a:extLst>
              <a:ext uri="{FF2B5EF4-FFF2-40B4-BE49-F238E27FC236}">
                <a16:creationId xmlns:a16="http://schemas.microsoft.com/office/drawing/2014/main" id="{EE7D2DC1-B4D5-422C-B1EA-CF4FC9E3A8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4175986"/>
              </p:ext>
            </p:extLst>
          </p:nvPr>
        </p:nvGraphicFramePr>
        <p:xfrm>
          <a:off x="1063449" y="3622714"/>
          <a:ext cx="15132879" cy="78962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305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18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09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49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46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827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9pPr>
                    </a:lstStyle>
                    <a:p>
                      <a:r>
                        <a:rPr lang="de-DE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Ampel</a:t>
                      </a:r>
                    </a:p>
                  </a:txBody>
                  <a:tcPr marL="72000" marR="90011" marT="45006" marB="45006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9pPr>
                    </a:lstStyle>
                    <a:p>
                      <a:r>
                        <a:rPr lang="de-DE" sz="1400" b="0" kern="1200" dirty="0">
                          <a:solidFill>
                            <a:schemeClr val="tx1"/>
                          </a:solidFill>
                          <a:latin typeface="+mn-lt"/>
                        </a:rPr>
                        <a:t>Meilenstein</a:t>
                      </a:r>
                      <a:endParaRPr lang="de-DE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11" marR="90011" marT="45006" marB="45006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kern="1200" dirty="0">
                          <a:solidFill>
                            <a:schemeClr val="tx1"/>
                          </a:solidFill>
                          <a:latin typeface="+mn-lt"/>
                        </a:rPr>
                        <a:t>Aktueller  Plan</a:t>
                      </a:r>
                      <a:endParaRPr lang="de-DE" sz="1400" b="0" kern="1200" dirty="0">
                        <a:solidFill>
                          <a:schemeClr val="tx1"/>
                        </a:solidFill>
                        <a:latin typeface="+mn-lt"/>
                        <a:ea typeface="ヒラギノ角ゴ ProN W3"/>
                        <a:cs typeface="ヒラギノ角ゴ ProN W3"/>
                      </a:endParaRPr>
                    </a:p>
                  </a:txBody>
                  <a:tcPr marL="90011" marR="90011" marT="45006" marB="45006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9pPr>
                    </a:lstStyle>
                    <a:p>
                      <a:r>
                        <a:rPr lang="de-DE" sz="1400" b="0" kern="1200" dirty="0">
                          <a:solidFill>
                            <a:schemeClr val="tx1"/>
                          </a:solidFill>
                          <a:latin typeface="+mn-lt"/>
                        </a:rPr>
                        <a:t>Lieferumfang </a:t>
                      </a:r>
                      <a:endParaRPr lang="de-DE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11" marR="90011" marT="45006" marB="45006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latin typeface="+mn-lt"/>
                        </a:rPr>
                        <a:t>Erläuterung Ampel</a:t>
                      </a:r>
                      <a:endParaRPr lang="de-DE" sz="1400" b="0" kern="1200" dirty="0">
                        <a:solidFill>
                          <a:schemeClr val="tx1"/>
                        </a:solidFill>
                        <a:latin typeface="+mn-lt"/>
                        <a:ea typeface="ヒラギノ角ゴ ProN W3"/>
                        <a:cs typeface="ヒラギノ角ゴ ProN W3"/>
                      </a:endParaRPr>
                    </a:p>
                  </a:txBody>
                  <a:tcPr marL="90011" marR="90011" marT="45006" marB="45006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07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de-DE" sz="1200" b="0" kern="120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  <a:endParaRPr lang="de-DE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11" marR="90011" marT="45006" marB="45006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de-DE" sz="1200" b="0" kern="1200" dirty="0">
                          <a:solidFill>
                            <a:schemeClr val="tx1"/>
                          </a:solidFill>
                          <a:latin typeface="+mn-lt"/>
                        </a:rPr>
                        <a:t>Lastenheft</a:t>
                      </a:r>
                      <a:endParaRPr lang="de-DE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11" marR="90011" marT="45006" marB="45006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14.12.2013</a:t>
                      </a:r>
                    </a:p>
                  </a:txBody>
                  <a:tcPr marL="90011" marR="90011" marT="45006" marB="45006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Gill Sans Light"/>
                          <a:ea typeface="ヒラギノ角ゴ ProN W3"/>
                          <a:cs typeface="ヒラギノ角ゴ ProN W3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de-DE" sz="1200" b="0" kern="1200" dirty="0">
                          <a:solidFill>
                            <a:schemeClr val="tx1"/>
                          </a:solidFill>
                          <a:latin typeface="+mn-lt"/>
                        </a:rPr>
                        <a:t>Erläuterung</a:t>
                      </a:r>
                      <a:endParaRPr lang="de-DE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11" marR="90011" marT="45006" marB="45006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200" b="0" kern="1200" dirty="0">
                          <a:solidFill>
                            <a:schemeClr val="tx1"/>
                          </a:solidFill>
                          <a:latin typeface="+mn-lt"/>
                        </a:rPr>
                        <a:t>Ergebnisse</a:t>
                      </a:r>
                      <a:endParaRPr lang="de-DE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11" marR="90011" marT="45006" marB="45006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3" name="Abgerundetes Rechteck 4" title="Einzelprojektsicht">
            <a:extLst>
              <a:ext uri="{FF2B5EF4-FFF2-40B4-BE49-F238E27FC236}">
                <a16:creationId xmlns:a16="http://schemas.microsoft.com/office/drawing/2014/main" id="{D490B043-8176-4F9C-B754-59F8C543BD7C}"/>
              </a:ext>
            </a:extLst>
          </p:cNvPr>
          <p:cNvSpPr/>
          <p:nvPr/>
        </p:nvSpPr>
        <p:spPr>
          <a:xfrm>
            <a:off x="1076328" y="2208312"/>
            <a:ext cx="15120000" cy="1320802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28575">
            <a:solidFill>
              <a:srgbClr val="DBE5F1"/>
            </a:solidFill>
          </a:ln>
          <a:effectLst>
            <a:outerShdw blurRad="50800" dist="50800" sx="1000" sy="1000" algn="ctr" rotWithShape="0">
              <a:srgbClr val="000000">
                <a:alpha val="43137"/>
              </a:srgbClr>
            </a:outerShdw>
            <a:reflection stA="45000" endPos="0" dir="5400000" sy="-100000" algn="bl" rotWithShape="0"/>
          </a:effectLst>
          <a:scene3d>
            <a:camera prst="orthographicFront"/>
            <a:lightRig rig="balanced" dir="t">
              <a:rot lat="0" lon="0" rev="5400000"/>
            </a:lightRig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1096" rIns="72000" bIns="61096" rtlCol="0" anchor="t">
            <a:normAutofit/>
          </a:bodyPr>
          <a:lstStyle/>
          <a:p>
            <a:pPr algn="l"/>
            <a:r>
              <a:rPr lang="de-DE" sz="1600" dirty="0">
                <a:solidFill>
                  <a:schemeClr val="tx1"/>
                </a:solidFill>
              </a:rPr>
              <a:t>Einzelprojektsicht</a:t>
            </a:r>
          </a:p>
        </p:txBody>
      </p:sp>
      <p:sp>
        <p:nvSpPr>
          <p:cNvPr id="24" name="Abgerundetes Rechteck 54" title="Beschreibung">
            <a:extLst>
              <a:ext uri="{FF2B5EF4-FFF2-40B4-BE49-F238E27FC236}">
                <a16:creationId xmlns:a16="http://schemas.microsoft.com/office/drawing/2014/main" id="{63D2DC93-E655-4C94-992B-3FB016FE784D}"/>
              </a:ext>
            </a:extLst>
          </p:cNvPr>
          <p:cNvSpPr/>
          <p:nvPr/>
        </p:nvSpPr>
        <p:spPr>
          <a:xfrm>
            <a:off x="1063449" y="1050629"/>
            <a:ext cx="15132879" cy="103832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8575">
            <a:solidFill>
              <a:srgbClr val="DBE5F1"/>
            </a:solidFill>
          </a:ln>
          <a:effectLst>
            <a:outerShdw blurRad="50800" dist="50800" sx="1000" sy="1000" algn="ctr" rotWithShape="0">
              <a:srgbClr val="000000">
                <a:alpha val="43137"/>
              </a:srgbClr>
            </a:outerShdw>
            <a:reflection stA="45000" endPos="0" dir="5400000" sy="-100000" algn="bl" rotWithShape="0"/>
          </a:effectLst>
          <a:scene3d>
            <a:camera prst="orthographicFront"/>
            <a:lightRig rig="balanced" dir="t">
              <a:rot lat="0" lon="0" rev="5400000"/>
            </a:lightRig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1096" rIns="72000" bIns="61096" rtlCol="0" anchor="t">
            <a:normAutofit/>
          </a:bodyPr>
          <a:lstStyle/>
          <a:p>
            <a:pPr algn="l"/>
            <a:r>
              <a:rPr lang="de-DE" sz="1600" dirty="0">
                <a:solidFill>
                  <a:schemeClr val="tx1"/>
                </a:solidFill>
              </a:rPr>
              <a:t>Beschreibung</a:t>
            </a:r>
          </a:p>
        </p:txBody>
      </p:sp>
    </p:spTree>
    <p:extLst>
      <p:ext uri="{BB962C8B-B14F-4D97-AF65-F5344CB8AC3E}">
        <p14:creationId xmlns:p14="http://schemas.microsoft.com/office/powerpoint/2010/main" val="13744292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200" dirty="0" smtClean="0">
            <a:solidFill>
              <a:schemeClr val="tx1"/>
            </a:solidFill>
            <a:latin typeface="Gill Sans Light"/>
            <a:ea typeface="Tahoma" panose="020B0604030504040204" pitchFamily="34" charset="0"/>
            <a:cs typeface="Tahoma" panose="020B060403050404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">
      <a:dk1>
        <a:srgbClr val="572E2D"/>
      </a:dk1>
      <a:lt1>
        <a:srgbClr val="2A5657"/>
      </a:lt1>
      <a:dk2>
        <a:srgbClr val="484D4B"/>
      </a:dk2>
      <a:lt2>
        <a:srgbClr val="A5A5A5"/>
      </a:lt2>
      <a:accent1>
        <a:srgbClr val="669AA4"/>
      </a:accent1>
      <a:accent2>
        <a:srgbClr val="930706"/>
      </a:accent2>
      <a:accent3>
        <a:srgbClr val="ACB4B4"/>
      </a:accent3>
      <a:accent4>
        <a:srgbClr val="492625"/>
      </a:accent4>
      <a:accent5>
        <a:srgbClr val="B8CACF"/>
      </a:accent5>
      <a:accent6>
        <a:srgbClr val="850605"/>
      </a:accent6>
      <a:hlink>
        <a:srgbClr val="0000FF"/>
      </a:hlink>
      <a:folHlink>
        <a:srgbClr val="FF00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6</Words>
  <Application>Microsoft Office PowerPoint</Application>
  <PresentationFormat>Benutzerdefiniert</PresentationFormat>
  <Paragraphs>22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Gill Sans Light</vt:lpstr>
      <vt:lpstr>Noteworthy Bold</vt:lpstr>
      <vt:lpstr>Wingdings</vt:lpstr>
      <vt:lpstr>Larissa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om</dc:creator>
  <cp:lastModifiedBy>Thomas Koytek</cp:lastModifiedBy>
  <cp:revision>2435</cp:revision>
  <cp:lastPrinted>2019-01-16T14:41:47Z</cp:lastPrinted>
  <dcterms:modified xsi:type="dcterms:W3CDTF">2021-09-12T06:20:22Z</dcterms:modified>
</cp:coreProperties>
</file>